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27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notesSlides/notesSlide25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56" r:id="rId2"/>
    <p:sldId id="438" r:id="rId3"/>
    <p:sldId id="439" r:id="rId4"/>
    <p:sldId id="440" r:id="rId5"/>
    <p:sldId id="445" r:id="rId6"/>
    <p:sldId id="449" r:id="rId7"/>
    <p:sldId id="467" r:id="rId8"/>
    <p:sldId id="468" r:id="rId9"/>
    <p:sldId id="469" r:id="rId10"/>
    <p:sldId id="470" r:id="rId11"/>
    <p:sldId id="471" r:id="rId12"/>
    <p:sldId id="472" r:id="rId13"/>
    <p:sldId id="473" r:id="rId14"/>
    <p:sldId id="474" r:id="rId15"/>
    <p:sldId id="475" r:id="rId16"/>
    <p:sldId id="476" r:id="rId17"/>
    <p:sldId id="477" r:id="rId18"/>
    <p:sldId id="478" r:id="rId19"/>
    <p:sldId id="479" r:id="rId20"/>
    <p:sldId id="481" r:id="rId21"/>
    <p:sldId id="480" r:id="rId22"/>
    <p:sldId id="482" r:id="rId23"/>
    <p:sldId id="483" r:id="rId24"/>
    <p:sldId id="484" r:id="rId25"/>
    <p:sldId id="485" r:id="rId26"/>
    <p:sldId id="486" r:id="rId27"/>
    <p:sldId id="487" r:id="rId28"/>
    <p:sldId id="488" r:id="rId29"/>
    <p:sldId id="489" r:id="rId30"/>
    <p:sldId id="490" r:id="rId3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0000"/>
    <a:srgbClr val="FFFF66"/>
    <a:srgbClr val="DE8F00"/>
    <a:srgbClr val="FAB900"/>
    <a:srgbClr val="E6AA00"/>
    <a:srgbClr val="CC9900"/>
    <a:srgbClr val="F3C03F"/>
    <a:srgbClr val="F4DA3E"/>
    <a:srgbClr val="F3D629"/>
    <a:srgbClr val="99663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0735" autoAdjust="0"/>
    <p:restoredTop sz="94434" autoAdjust="0"/>
  </p:normalViewPr>
  <p:slideViewPr>
    <p:cSldViewPr>
      <p:cViewPr varScale="1">
        <p:scale>
          <a:sx n="69" d="100"/>
          <a:sy n="69" d="100"/>
        </p:scale>
        <p:origin x="-120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790" y="66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86A1AE-B3C8-4A89-B742-1269CD9B63E0}">
      <dsp:nvSpPr>
        <dsp:cNvPr id="0" name=""/>
        <dsp:cNvSpPr/>
      </dsp:nvSpPr>
      <dsp:spPr>
        <a:xfrm>
          <a:off x="3048000" y="1844867"/>
          <a:ext cx="2156482" cy="3742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132"/>
              </a:lnTo>
              <a:lnTo>
                <a:pt x="2156482" y="187132"/>
              </a:lnTo>
              <a:lnTo>
                <a:pt x="2156482" y="3742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F63B44-83A8-425E-8EE5-12935BC0200D}">
      <dsp:nvSpPr>
        <dsp:cNvPr id="0" name=""/>
        <dsp:cNvSpPr/>
      </dsp:nvSpPr>
      <dsp:spPr>
        <a:xfrm>
          <a:off x="3002280" y="1844867"/>
          <a:ext cx="91440" cy="374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42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6B8036-BD53-4347-8758-F0FC2190CEBC}">
      <dsp:nvSpPr>
        <dsp:cNvPr id="0" name=""/>
        <dsp:cNvSpPr/>
      </dsp:nvSpPr>
      <dsp:spPr>
        <a:xfrm>
          <a:off x="891517" y="1844867"/>
          <a:ext cx="2156482" cy="374265"/>
        </a:xfrm>
        <a:custGeom>
          <a:avLst/>
          <a:gdLst/>
          <a:ahLst/>
          <a:cxnLst/>
          <a:rect l="0" t="0" r="0" b="0"/>
          <a:pathLst>
            <a:path>
              <a:moveTo>
                <a:pt x="2156482" y="0"/>
              </a:moveTo>
              <a:lnTo>
                <a:pt x="2156482" y="187132"/>
              </a:lnTo>
              <a:lnTo>
                <a:pt x="0" y="187132"/>
              </a:lnTo>
              <a:lnTo>
                <a:pt x="0" y="3742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4BDBE0-E8FB-4021-AD4E-C3097C3D869F}">
      <dsp:nvSpPr>
        <dsp:cNvPr id="0" name=""/>
        <dsp:cNvSpPr/>
      </dsp:nvSpPr>
      <dsp:spPr>
        <a:xfrm>
          <a:off x="2156891" y="953758"/>
          <a:ext cx="1782216" cy="891108"/>
        </a:xfrm>
        <a:prstGeom prst="rect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BMS</a:t>
          </a:r>
          <a:endParaRPr lang="en-US" sz="1600" kern="1200" dirty="0"/>
        </a:p>
      </dsp:txBody>
      <dsp:txXfrm>
        <a:off x="2156891" y="953758"/>
        <a:ext cx="1782216" cy="891108"/>
      </dsp:txXfrm>
    </dsp:sp>
    <dsp:sp modelId="{46069DA0-6820-4951-B592-6E14A0ECEBD3}">
      <dsp:nvSpPr>
        <dsp:cNvPr id="0" name=""/>
        <dsp:cNvSpPr/>
      </dsp:nvSpPr>
      <dsp:spPr>
        <a:xfrm>
          <a:off x="409" y="2219132"/>
          <a:ext cx="1782216" cy="891108"/>
        </a:xfrm>
        <a:prstGeom prst="rect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bg1"/>
              </a:solidFill>
            </a:rPr>
            <a:t>Hierarchal DBM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409" y="2219132"/>
        <a:ext cx="1782216" cy="891108"/>
      </dsp:txXfrm>
    </dsp:sp>
    <dsp:sp modelId="{8AB3173B-58D6-4129-8294-25F49787CB9E}">
      <dsp:nvSpPr>
        <dsp:cNvPr id="0" name=""/>
        <dsp:cNvSpPr/>
      </dsp:nvSpPr>
      <dsp:spPr>
        <a:xfrm>
          <a:off x="2156891" y="2219132"/>
          <a:ext cx="1782216" cy="891108"/>
        </a:xfrm>
        <a:prstGeom prst="rect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bg1"/>
              </a:solidFill>
            </a:rPr>
            <a:t>Network DBM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2156891" y="2219132"/>
        <a:ext cx="1782216" cy="891108"/>
      </dsp:txXfrm>
    </dsp:sp>
    <dsp:sp modelId="{A0C57194-AFD1-43C7-8E01-4E1600451911}">
      <dsp:nvSpPr>
        <dsp:cNvPr id="0" name=""/>
        <dsp:cNvSpPr/>
      </dsp:nvSpPr>
      <dsp:spPr>
        <a:xfrm>
          <a:off x="4313373" y="2219132"/>
          <a:ext cx="1782216" cy="891108"/>
        </a:xfrm>
        <a:prstGeom prst="rect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bg1"/>
              </a:solidFill>
            </a:rPr>
            <a:t>Relational DBM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4313373" y="2219132"/>
        <a:ext cx="1782216" cy="891108"/>
      </dsp:txXfrm>
    </dsp:sp>
  </dsp:spTree>
</dsp:drawing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2B816F-27FE-4C86-A193-586EE6972E63}" type="datetimeFigureOut">
              <a:rPr lang="en-US" smtClean="0"/>
              <a:pPr/>
              <a:t>5/1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4AA873-8FC2-4A1B-81C9-D13426C9AB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278196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8860CC4-94CA-4354-99C7-9C0B01C60505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C2AB241-9474-46A7-BEC2-4B92C108E6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97690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2AB241-9474-46A7-BEC2-4B92C108E6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94706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096549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49756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30187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580957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705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904" y="6526266"/>
            <a:ext cx="789296" cy="365125"/>
          </a:xfrm>
        </p:spPr>
        <p:txBody>
          <a:bodyPr/>
          <a:lstStyle>
            <a:lvl1pPr algn="l">
              <a:defRPr/>
            </a:lvl1pPr>
          </a:lstStyle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905" y="48904"/>
            <a:ext cx="1147895" cy="408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0"/>
            <a:ext cx="1143000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953" y="48904"/>
            <a:ext cx="171384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4058840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62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" y="25400"/>
            <a:ext cx="9067800" cy="584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" y="698500"/>
            <a:ext cx="9052560" cy="562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8A2198-DFD9-41F6-879F-C9AD067AD492}" type="datetimeFigureOut">
              <a:rPr lang="en-US" smtClean="0"/>
              <a:pPr/>
              <a:t>5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7AE52D-192F-404D-AF3F-40400558A33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r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914400" y="2221468"/>
            <a:ext cx="77724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“You are in good company”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697468"/>
            <a:ext cx="4873143" cy="1733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429000" y="3212068"/>
            <a:ext cx="2644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www.fewgoodpeople.com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4443680"/>
            <a:ext cx="8458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00B050"/>
                </a:solidFill>
                <a:latin typeface="Century Gothic" pitchFamily="34" charset="0"/>
                <a:cs typeface="Arial" pitchFamily="34" charset="0"/>
              </a:rPr>
              <a:t>“ Core JAVA”</a:t>
            </a:r>
          </a:p>
          <a:p>
            <a:pPr algn="ctr"/>
            <a:endParaRPr lang="en-US" sz="3600" b="1" dirty="0">
              <a:solidFill>
                <a:srgbClr val="00B050"/>
              </a:solidFill>
              <a:latin typeface="Century Gothic" pitchFamily="34" charset="0"/>
              <a:cs typeface="Arial" pitchFamily="34" charset="0"/>
            </a:endParaRPr>
          </a:p>
          <a:p>
            <a:pPr algn="ctr"/>
            <a:r>
              <a:rPr lang="en-US" sz="3600" b="1" dirty="0" smtClean="0">
                <a:solidFill>
                  <a:srgbClr val="00B050"/>
                </a:solidFill>
                <a:latin typeface="Century Gothic" pitchFamily="34" charset="0"/>
                <a:cs typeface="Arial" pitchFamily="34" charset="0"/>
              </a:rPr>
              <a:t>						        </a:t>
            </a:r>
            <a:r>
              <a:rPr lang="en-US" sz="1400" b="1" dirty="0" smtClean="0">
                <a:solidFill>
                  <a:srgbClr val="00B050"/>
                </a:solidFill>
                <a:latin typeface="Century Gothic" pitchFamily="34" charset="0"/>
                <a:cs typeface="Arial" pitchFamily="34" charset="0"/>
              </a:rPr>
              <a:t>by </a:t>
            </a:r>
            <a:r>
              <a:rPr lang="en-US" sz="1400" b="1" dirty="0" err="1" smtClean="0">
                <a:solidFill>
                  <a:srgbClr val="00B050"/>
                </a:solidFill>
                <a:latin typeface="Century Gothic" pitchFamily="34" charset="0"/>
                <a:cs typeface="Arial" pitchFamily="34" charset="0"/>
              </a:rPr>
              <a:t>Girish</a:t>
            </a:r>
            <a:r>
              <a:rPr lang="en-US" sz="1400" b="1" dirty="0" smtClean="0">
                <a:solidFill>
                  <a:srgbClr val="00B050"/>
                </a:solidFill>
                <a:latin typeface="Century Gothic" pitchFamily="34" charset="0"/>
                <a:cs typeface="Arial" pitchFamily="34" charset="0"/>
              </a:rPr>
              <a:t> 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Data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type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r>
              <a:rPr lang="en-US" sz="1500" dirty="0" smtClean="0"/>
              <a:t>The data type of a variable is an attribute that tells what kind of data that value can have.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dirty="0" smtClean="0"/>
              <a:t>Data type ‘s Types :</a:t>
            </a: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rimitive </a:t>
            </a: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Non Primitive</a:t>
            </a:r>
          </a:p>
        </p:txBody>
      </p:sp>
      <p:pic>
        <p:nvPicPr>
          <p:cNvPr id="7" name="Picture 6" descr="datatype in java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4400" y="2072005"/>
            <a:ext cx="6705600" cy="3871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Data type memory 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llocation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endParaRPr lang="en-US" sz="1400" dirty="0" smtClean="0"/>
          </a:p>
        </p:txBody>
      </p:sp>
      <p:graphicFrame>
        <p:nvGraphicFramePr>
          <p:cNvPr id="7" name="Content Placeholder 3"/>
          <p:cNvGraphicFramePr>
            <a:graphicFrameLocks/>
          </p:cNvGraphicFramePr>
          <p:nvPr/>
        </p:nvGraphicFramePr>
        <p:xfrm>
          <a:off x="457200" y="990600"/>
          <a:ext cx="8153400" cy="4267197"/>
        </p:xfrm>
        <a:graphic>
          <a:graphicData uri="http://schemas.openxmlformats.org/drawingml/2006/table">
            <a:tbl>
              <a:tblPr/>
              <a:tblGrid>
                <a:gridCol w="2717800"/>
                <a:gridCol w="2717800"/>
                <a:gridCol w="2717800"/>
              </a:tblGrid>
              <a:tr h="474133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Data Typ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Default Valu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Default siz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>
                      <a:noFill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boolean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Fals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1 bit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char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''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2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1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short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2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int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4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long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L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8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float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.0f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4 byte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4133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doubl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0.0d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Verdana"/>
                          <a:ea typeface="Calibri"/>
                          <a:cs typeface="Times New Roman"/>
                        </a:rPr>
                        <a:t>8 byt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275" marR="41275" marT="41275" marB="41275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Operato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5516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r>
              <a:rPr lang="en-US" sz="1500" dirty="0" smtClean="0"/>
              <a:t>Java provides a rich set of operators to manipulate variables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rithmetic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Relational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Bitwise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Logical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ssignment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Misc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400" dirty="0" smtClean="0"/>
              <a:t>Arithmetic operators are used in mathematical expressions in the same way that they are used in algebra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400" dirty="0" err="1" smtClean="0"/>
              <a:t>Eg</a:t>
            </a:r>
            <a:r>
              <a:rPr lang="en-US" sz="1400" dirty="0" smtClean="0"/>
              <a:t> : a=10, b=5 c=</a:t>
            </a:r>
            <a:r>
              <a:rPr lang="en-US" sz="1400" dirty="0" err="1" smtClean="0"/>
              <a:t>a+b</a:t>
            </a:r>
            <a:r>
              <a:rPr lang="en-US" sz="1400" dirty="0" smtClean="0"/>
              <a:t> =&gt; c=(10+5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4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25908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Arithmetic Operator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81000" y="3505200"/>
          <a:ext cx="8382000" cy="3178624"/>
        </p:xfrm>
        <a:graphic>
          <a:graphicData uri="http://schemas.openxmlformats.org/drawingml/2006/table">
            <a:tbl>
              <a:tblPr/>
              <a:tblGrid>
                <a:gridCol w="1371600"/>
                <a:gridCol w="7010400"/>
              </a:tblGrid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1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Operator</a:t>
                      </a:r>
                      <a:endParaRPr lang="en-US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100" b="1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+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Addition - Adds values on either side of the operator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20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-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Subtraction - Subtracts right hand operand from left hand operand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*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Multiplication - Multiplies values on either side of the operator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/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ivision - Divides left hand operand by right hand operand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20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%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Modulus - Divides left hand operand by right hand operand and returns remainder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++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Increment - Increases the value of operand by 1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1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--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3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crement - Decreases the value of operand by 1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6878" marR="76878" marT="76878" marB="76878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Relational Operators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endParaRPr lang="en-US" sz="1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28600" y="838200"/>
          <a:ext cx="8686800" cy="3728415"/>
        </p:xfrm>
        <a:graphic>
          <a:graphicData uri="http://schemas.openxmlformats.org/drawingml/2006/table">
            <a:tbl>
              <a:tblPr/>
              <a:tblGrid>
                <a:gridCol w="1075509"/>
                <a:gridCol w="7611291"/>
              </a:tblGrid>
              <a:tr h="21002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Operator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=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s of two operands are equal or not, if yes then condition becomes true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!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s of two operands are equal or not, if values are not equal then condition becomes true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gt;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 of left operand is greater than the value of right operand, if yes then condition becomes true.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lt;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 of left operand is less than the value of right operand, if yes then condition becomes true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gt;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 of left operand is greater than or equal to the value of right operand, if yes then condition becomes true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1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 smtClean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lt;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 smtClean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hecks if the value of left operand is less than or equal to the value of right operand, if yes then condition becomes true.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686" marR="55686" marT="55686" marB="55686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Bitwise Operato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Java defines several bitwise operators, which can be applied to the integer types, long, </a:t>
            </a:r>
            <a:r>
              <a:rPr lang="en-US" sz="1500" dirty="0" err="1" smtClean="0"/>
              <a:t>int</a:t>
            </a:r>
            <a:r>
              <a:rPr lang="en-US" sz="1500" dirty="0" smtClean="0"/>
              <a:t>, short, char, and byte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Bitwise operator works on bits and performs bit-by-bit operation. Assume if a = 60; and b = 13; now in binary format they will be as follows: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pt-BR" sz="1500" dirty="0" smtClean="0"/>
              <a:t>a = 0011 1100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pt-BR" sz="1500" dirty="0" smtClean="0"/>
              <a:t>b = 0000 1101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pt-BR" sz="1500" dirty="0" smtClean="0"/>
              <a:t>-----------------</a:t>
            </a:r>
          </a:p>
          <a:p>
            <a:pPr marL="2171700" lvl="4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500" dirty="0" smtClean="0"/>
              <a:t>a&amp;b 	= 	0000 1100</a:t>
            </a:r>
          </a:p>
          <a:p>
            <a:pPr marL="2171700" lvl="4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500" dirty="0" smtClean="0"/>
              <a:t>a|b 	= 	0011 1101</a:t>
            </a:r>
          </a:p>
          <a:p>
            <a:pPr marL="2171700" lvl="4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500" dirty="0" smtClean="0"/>
              <a:t>a^b 	= 	0011 0001</a:t>
            </a:r>
          </a:p>
          <a:p>
            <a:pPr marL="2171700" lvl="4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500" dirty="0" smtClean="0"/>
              <a:t>~a  	= 	1100 0011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41910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533400" y="3962401"/>
          <a:ext cx="8001000" cy="1706733"/>
        </p:xfrm>
        <a:graphic>
          <a:graphicData uri="http://schemas.openxmlformats.org/drawingml/2006/table">
            <a:tbl>
              <a:tblPr/>
              <a:tblGrid>
                <a:gridCol w="1045968"/>
                <a:gridCol w="6955032"/>
              </a:tblGrid>
              <a:tr h="2140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Operator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2140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amp;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nary AND Operator copies a bit to the result if it exists in both operands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|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nary OR Operator copies a bit if it exists in either operand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^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nary XOR Operator copies the bit if it is set in one operand but not both.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9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~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nary Ones Complement Operator is unary and has the effect of 'flipping' bits.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293" marR="45293" marT="45293" marB="45293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Logical Operato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762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81000" y="685800"/>
          <a:ext cx="8382000" cy="2486926"/>
        </p:xfrm>
        <a:graphic>
          <a:graphicData uri="http://schemas.openxmlformats.org/drawingml/2006/table">
            <a:tbl>
              <a:tblPr/>
              <a:tblGrid>
                <a:gridCol w="1219200"/>
                <a:gridCol w="7162800"/>
              </a:tblGrid>
              <a:tr h="2558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Operator</a:t>
                      </a:r>
                      <a:endParaRPr lang="en-US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 b="1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4208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amp;&amp;</a:t>
                      </a:r>
                      <a:endParaRPr lang="en-US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alled Logical AND operator. If both the operands are non-zero, then the condition becomes true.</a:t>
                      </a:r>
                      <a:endParaRPr lang="en-US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8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||</a:t>
                      </a:r>
                      <a:endParaRPr lang="en-US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alled Logical OR Operator. If any of the two operands are non-zero, then the condition becomes true.</a:t>
                      </a:r>
                      <a:endParaRPr lang="en-US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52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 dirty="0" smtClean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!</a:t>
                      </a:r>
                      <a:endParaRPr lang="en-US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5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Called Logical NOT Operator. Use to reverses the logical state of its operand. If a condition is true then Logical NOT operator will make false.</a:t>
                      </a:r>
                      <a:endParaRPr lang="en-US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0837" marR="80837" marT="80837" marB="80837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ssignment Operato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81000" y="990600"/>
          <a:ext cx="8229600" cy="4648504"/>
        </p:xfrm>
        <a:graphic>
          <a:graphicData uri="http://schemas.openxmlformats.org/drawingml/2006/table">
            <a:tbl>
              <a:tblPr/>
              <a:tblGrid>
                <a:gridCol w="1382432"/>
                <a:gridCol w="6847168"/>
              </a:tblGrid>
              <a:tr h="2100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Operator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b="1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Simple assignment operator, Assigns values from right side operands to left side operand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+=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Add AND assignment operator, It adds right operand to the left operand and assign the result to left operand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-=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Subtract AND assignment operator, It subtracts right operand from the left operand and assign the result to left operand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*=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Multiply AND assignment operator, It multiplies right operand with the left operand and assign the result to left operand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/=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Divide AND assignment operator, It divides left operand with the right operand and assign the result to left operand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7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%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Modulus AND assignment operator, It takes modulus using two operands and assign the result to left operand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&amp;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twise AND assignment operator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^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twise exclusive OR and assignment operator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|=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825"/>
                        </a:spcAft>
                      </a:pPr>
                      <a:r>
                        <a:rPr lang="en-US" sz="1400" dirty="0">
                          <a:solidFill>
                            <a:srgbClr val="313131"/>
                          </a:solidFill>
                          <a:latin typeface="Arial"/>
                          <a:ea typeface="Calibri"/>
                          <a:cs typeface="Times New Roman"/>
                        </a:rPr>
                        <a:t>bitwise inclusive OR and assignment operator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134" marR="36134" marT="36134" marB="36134">
                    <a:lnL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Misc Operato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Conditional Operator ( ? : 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onditional operator is also known as the </a:t>
            </a:r>
            <a:r>
              <a:rPr lang="en-US" sz="1500" b="1" dirty="0" smtClean="0"/>
              <a:t>ternary operator</a:t>
            </a:r>
            <a:r>
              <a:rPr lang="en-US" sz="1500" dirty="0" smtClean="0"/>
              <a:t>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is operator consists of </a:t>
            </a:r>
            <a:r>
              <a:rPr lang="en-US" sz="1500" b="1" dirty="0" smtClean="0"/>
              <a:t>three operands </a:t>
            </a:r>
            <a:r>
              <a:rPr lang="en-US" sz="1500" dirty="0" smtClean="0"/>
              <a:t>and is used to evaluate Boolean expressions. The goal of the operator is to decide which value should be assigned to the variable. The operator is written as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variable x = (expression) ? value if true : value if fals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 Example :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err="1" smtClean="0"/>
              <a:t>int</a:t>
            </a:r>
            <a:r>
              <a:rPr lang="en-US" sz="1500" dirty="0" smtClean="0"/>
              <a:t> a , b;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 = 10;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b = (a == 1) ? 20: 30; </a:t>
            </a:r>
            <a:endParaRPr lang="en-US" sz="1400" dirty="0" smtClean="0"/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OOPs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OOPs (</a:t>
            </a:r>
            <a:r>
              <a:rPr lang="en-US" sz="1500" b="1" dirty="0" smtClean="0"/>
              <a:t>Object Oriented Programming System</a:t>
            </a:r>
            <a:r>
              <a:rPr lang="en-US" sz="1500" dirty="0" smtClean="0"/>
              <a:t>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Object-Oriented Programming is a methodology or paradigm to </a:t>
            </a:r>
            <a:r>
              <a:rPr lang="en-US" sz="1500" b="1" dirty="0" smtClean="0"/>
              <a:t>design a program using classes and objects</a:t>
            </a:r>
            <a:r>
              <a:rPr lang="en-US" sz="1500" dirty="0" smtClean="0"/>
              <a:t>. It simplifies the software development and maintenance by providing some concepts: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Object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Class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Inheritance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Polymorphism</a:t>
            </a:r>
          </a:p>
          <a:p>
            <a:pPr marL="3086100" lvl="6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Overloading</a:t>
            </a:r>
          </a:p>
          <a:p>
            <a:pPr marL="3086100" lvl="6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Overriding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Abstraction</a:t>
            </a:r>
          </a:p>
          <a:p>
            <a:pPr marL="2628900" lvl="5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500" dirty="0" smtClean="0"/>
              <a:t>Encapsula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Object means a </a:t>
            </a:r>
            <a:r>
              <a:rPr lang="en-US" sz="1500" b="1" dirty="0" smtClean="0"/>
              <a:t>real word entity</a:t>
            </a:r>
            <a:r>
              <a:rPr lang="en-US" sz="1500" dirty="0" smtClean="0"/>
              <a:t> that has </a:t>
            </a:r>
            <a:r>
              <a:rPr lang="en-US" sz="1500" b="1" dirty="0" smtClean="0"/>
              <a:t>its own state and behavior</a:t>
            </a:r>
            <a:r>
              <a:rPr lang="en-US" sz="1500" dirty="0" smtClean="0"/>
              <a:t>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For example: chair, pen, table, keyboard, bike etc. It can be physical and logical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Java class is a </a:t>
            </a:r>
            <a:r>
              <a:rPr lang="en-US" sz="1500" b="1" dirty="0" smtClean="0"/>
              <a:t>template / blueprint</a:t>
            </a:r>
            <a:r>
              <a:rPr lang="en-US" sz="1500" dirty="0" smtClean="0"/>
              <a:t> based on which we will be </a:t>
            </a:r>
            <a:r>
              <a:rPr lang="en-US" sz="1500" b="1" dirty="0" smtClean="0"/>
              <a:t>creating an object</a:t>
            </a:r>
            <a:r>
              <a:rPr lang="en-US" sz="1500" dirty="0" smtClean="0"/>
              <a:t>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 class is a set of specifications that </a:t>
            </a:r>
            <a:r>
              <a:rPr lang="en-US" sz="1500" b="1" dirty="0" smtClean="0"/>
              <a:t>describes the characteristics (state) and behavior </a:t>
            </a:r>
            <a:r>
              <a:rPr lang="en-US" sz="1500" dirty="0" smtClean="0"/>
              <a:t>of </a:t>
            </a:r>
            <a:r>
              <a:rPr lang="en-US" sz="1500" b="1" dirty="0" smtClean="0"/>
              <a:t>an entity</a:t>
            </a:r>
            <a:r>
              <a:rPr lang="en-US" sz="1500" dirty="0" smtClean="0"/>
              <a:t>.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36830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Object and Clas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Inheritance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: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feature by which one class acquires the properties and functionalities of another class. This is important because it supports the concept of reusability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olymorphism  (from the Greek meaning "having multiple forms") is the ability of different objects to respond, each in its own way, to identical messages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process of extracting  the </a:t>
            </a:r>
            <a:r>
              <a:rPr lang="en-US" sz="1500" b="1" dirty="0" smtClean="0"/>
              <a:t>essential information and hiding the irrelevant details</a:t>
            </a:r>
            <a:r>
              <a:rPr lang="en-US" sz="1500" dirty="0" smtClean="0"/>
              <a:t>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process of </a:t>
            </a:r>
            <a:r>
              <a:rPr lang="en-US" sz="1500" b="1" dirty="0" smtClean="0"/>
              <a:t>binding code and data together </a:t>
            </a:r>
            <a:r>
              <a:rPr lang="en-US" sz="1500" dirty="0" smtClean="0"/>
              <a:t>in the form of a </a:t>
            </a:r>
            <a:r>
              <a:rPr lang="en-US" sz="1500" b="1" dirty="0" smtClean="0"/>
              <a:t>capsule</a:t>
            </a:r>
            <a:r>
              <a:rPr lang="en-US" sz="1500" dirty="0" smtClean="0"/>
              <a:t>. The insulation of the data from the direct access by the program is called data hiding.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0" y="14732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Polymorphism: 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0" y="26924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Abstraction: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0" y="38862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Encapsulation: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Core JAVA Training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38100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50" lvl="1" indent="-285750">
              <a:spcBef>
                <a:spcPct val="20000"/>
              </a:spcBef>
              <a:defRPr/>
            </a:pPr>
            <a:r>
              <a:rPr lang="en-US" sz="1300" dirty="0" smtClean="0"/>
              <a:t>Session I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What is Java?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Where Java is used?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Founda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Version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Types of Java Application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Features of Java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System Setting</a:t>
            </a:r>
          </a:p>
          <a:p>
            <a:pPr marL="742950" lvl="1" indent="-285750">
              <a:spcBef>
                <a:spcPct val="20000"/>
              </a:spcBef>
              <a:defRPr/>
            </a:pPr>
            <a:r>
              <a:rPr lang="en-US" sz="1300" dirty="0" smtClean="0"/>
              <a:t>Session </a:t>
            </a:r>
            <a:r>
              <a:rPr lang="en-US" sz="1300" dirty="0"/>
              <a:t>II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Program Structur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Variab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Types of variable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Variable declara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Data typ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Data type memory allocation</a:t>
            </a:r>
          </a:p>
          <a:p>
            <a:pPr marL="742950" lvl="1" indent="-285750">
              <a:spcBef>
                <a:spcPct val="20000"/>
              </a:spcBef>
              <a:defRPr/>
            </a:pPr>
            <a:r>
              <a:rPr lang="en-US" sz="1300" dirty="0" smtClean="0"/>
              <a:t>Session III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Arithmetic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Relational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Bitwise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Logical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Assignment Operator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Misc Operator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endParaRPr lang="en-US" sz="1300" dirty="0" smtClean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495800" y="609600"/>
            <a:ext cx="38100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50" lvl="1" indent="-285750">
              <a:spcBef>
                <a:spcPct val="20000"/>
              </a:spcBef>
              <a:defRPr/>
            </a:pPr>
            <a:r>
              <a:rPr lang="en-US" sz="1300" dirty="0" smtClean="0"/>
              <a:t>Session IV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OOP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Object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Clas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Inheritanc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Polymorphism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Overloading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en-US" sz="1300" dirty="0" smtClean="0"/>
              <a:t>Overriding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Abstrac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Encapsulation</a:t>
            </a:r>
          </a:p>
          <a:p>
            <a:pPr marL="742950" lvl="1" indent="-285750">
              <a:spcBef>
                <a:spcPct val="20000"/>
              </a:spcBef>
              <a:defRPr/>
            </a:pPr>
            <a:r>
              <a:rPr lang="en-US" sz="1300" dirty="0" smtClean="0"/>
              <a:t>Session V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Keyword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Programming Conditional Control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Comments in Java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Access </a:t>
            </a:r>
            <a:r>
              <a:rPr lang="en-US" sz="1300" dirty="0" err="1" smtClean="0"/>
              <a:t>Specifiers</a:t>
            </a:r>
            <a:r>
              <a:rPr lang="en-US" sz="1300" dirty="0" smtClean="0"/>
              <a:t> /Modifiers </a:t>
            </a:r>
          </a:p>
          <a:p>
            <a:pPr marL="742950" lvl="1" indent="-285750">
              <a:spcBef>
                <a:spcPct val="20000"/>
              </a:spcBef>
              <a:defRPr/>
            </a:pPr>
            <a:r>
              <a:rPr lang="en-US" sz="1300" smtClean="0"/>
              <a:t>Session </a:t>
            </a:r>
            <a:r>
              <a:rPr lang="en-US" sz="1300" dirty="0" smtClean="0"/>
              <a:t>VI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Naming Conventions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Java Constructor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Static Keywor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“this” Keywor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“super” Keyword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300" dirty="0" smtClean="0"/>
              <a:t>Array (1D &amp; 2D)</a:t>
            </a:r>
          </a:p>
        </p:txBody>
      </p:sp>
    </p:spTree>
    <p:extLst>
      <p:ext uri="{BB962C8B-B14F-4D97-AF65-F5344CB8AC3E}">
        <p14:creationId xmlns="" xmlns:p14="http://schemas.microsoft.com/office/powerpoint/2010/main" val="30077404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Keywords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Data type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byte, short, </a:t>
            </a:r>
            <a:r>
              <a:rPr lang="en-US" sz="1500" dirty="0" err="1" smtClean="0"/>
              <a:t>int</a:t>
            </a:r>
            <a:r>
              <a:rPr lang="en-US" sz="1500" dirty="0" smtClean="0"/>
              <a:t>, long, char, float, double, and </a:t>
            </a:r>
            <a:r>
              <a:rPr lang="en-US" sz="1500" dirty="0" err="1" smtClean="0"/>
              <a:t>boolean</a:t>
            </a: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Control Statement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f, else, switch, for, while, do, case, break, default, continue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Class &amp; Object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lass, interface, extends, implements, new, return, super, thi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Access </a:t>
            </a:r>
            <a:r>
              <a:rPr lang="en-US" sz="1500" b="1" dirty="0" err="1" smtClean="0"/>
              <a:t>Specifier</a:t>
            </a:r>
            <a:r>
              <a:rPr lang="en-US" sz="1500" b="1" dirty="0" smtClean="0"/>
              <a:t>  / Modifier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default, private, protected, public, abstract, final, static, transient, synchronize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Package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ackage, import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Exception Handling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ry, catch, finally, throw, throws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Miscellaneous</a:t>
            </a:r>
          </a:p>
          <a:p>
            <a:pPr marL="1714500" lvl="3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err="1" smtClean="0"/>
              <a:t>instanceof</a:t>
            </a:r>
            <a:r>
              <a:rPr lang="en-US" sz="1500" dirty="0" smtClean="0"/>
              <a:t>, void</a:t>
            </a: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Programming Conditional Control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f  statement, if else statement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Nested if statement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f  else  if else ladder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switch case statements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ernary operator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for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whi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do-whi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for each loop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22098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Iterative Controls( Loops)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Comments in Java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A single line comment in Java will start with //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		// This is a single line comment in Java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A multi line comment starts with a /* and ends with a */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    /* This is a multi line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       comment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       in Java */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A multi-line comment that can be documented by </a:t>
            </a:r>
            <a:r>
              <a:rPr lang="en-US" sz="1500" b="1" dirty="0" err="1" smtClean="0"/>
              <a:t>javadoc</a:t>
            </a:r>
            <a:r>
              <a:rPr lang="en-US" sz="1500" b="1" dirty="0" smtClean="0"/>
              <a:t> tool.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/**  This is documented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         comment */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ccess </a:t>
            </a:r>
            <a:r>
              <a:rPr lang="en-US" altLang="zh-CN" sz="2600" kern="1200" dirty="0" err="1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Specifiers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 /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Modifiers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Java provides access protection at 2 levels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lass level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Member level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Four Access Control Modifiers in Java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ublic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rivat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rotecte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default</a:t>
            </a:r>
            <a:endParaRPr lang="en-US" sz="1400" dirty="0" smtClean="0"/>
          </a:p>
        </p:txBody>
      </p:sp>
      <p:pic>
        <p:nvPicPr>
          <p:cNvPr id="7" name="Table 3"/>
          <p:cNvPicPr>
            <a:picLocks noGrp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90600" y="3276600"/>
            <a:ext cx="7162799" cy="3048000"/>
          </a:xfrm>
          <a:prstGeom prst="rect">
            <a:avLst/>
          </a:prstGeom>
          <a:solidFill>
            <a:srgbClr val="CCFFCC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Naming Conventions 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endParaRPr lang="en-US" sz="10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Interfac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Abstract Clas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81000" y="920776"/>
          <a:ext cx="8382000" cy="2965424"/>
        </p:xfrm>
        <a:graphic>
          <a:graphicData uri="http://schemas.openxmlformats.org/drawingml/2006/table">
            <a:tbl>
              <a:tblPr/>
              <a:tblGrid>
                <a:gridCol w="2057400"/>
                <a:gridCol w="6324600"/>
              </a:tblGrid>
              <a:tr h="289344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Name</a:t>
                      </a:r>
                      <a:endParaRPr lang="en-US" sz="1500" b="1" dirty="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Convention</a:t>
                      </a:r>
                      <a:endParaRPr lang="en-US" sz="1500" b="1" dirty="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>
                      <a:noFill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99634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class name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start with uppercase letter and be a noun e.g. String, Color, Button, System, Thread etc.</a:t>
                      </a:r>
                      <a:endParaRPr lang="en-US" sz="1500" dirty="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9634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interface name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start with uppercase letter and be an adjective e.g. Runnable, Remote, ActionListener etc.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499634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method name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start with lowercase letter and be a verb e.g. actionPerformed(), main(), print(), println() etc.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3917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variable name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start with lowercase letter e.g. firstName, orderNumber etc.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  <a:tr h="289344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package name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be in lowercase letter e.g. java, lang, sql, util etc.</a:t>
                      </a:r>
                      <a:endParaRPr lang="en-US" sz="150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3917"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constants name</a:t>
                      </a:r>
                      <a:endParaRPr lang="en-US" sz="1500" dirty="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  <a:tc>
                  <a:txBody>
                    <a:bodyPr/>
                    <a:lstStyle/>
                    <a:p>
                      <a:pPr marL="164465" marR="0">
                        <a:lnSpc>
                          <a:spcPts val="14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latin typeface="Calibri (Body)"/>
                          <a:ea typeface="Times New Roman"/>
                          <a:cs typeface="Times New Roman"/>
                        </a:rPr>
                        <a:t>should be in uppercase letter. e.g. RED, YELLOW, MAX_PRIORITY etc.</a:t>
                      </a:r>
                      <a:endParaRPr lang="en-US" sz="1500" dirty="0">
                        <a:latin typeface="Calibri (Body)"/>
                        <a:ea typeface="Calibri"/>
                        <a:cs typeface="Times New Roman"/>
                      </a:endParaRPr>
                    </a:p>
                  </a:txBody>
                  <a:tcPr marL="35807" marR="35807" marT="35807" marB="35807">
                    <a:lnL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FE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Constructor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onstructor in java is a </a:t>
            </a:r>
            <a:r>
              <a:rPr lang="en-US" sz="1500" b="1" dirty="0" smtClean="0"/>
              <a:t>special type of method </a:t>
            </a:r>
            <a:r>
              <a:rPr lang="en-US" sz="1500" dirty="0" smtClean="0"/>
              <a:t>that is used to </a:t>
            </a:r>
            <a:r>
              <a:rPr lang="en-US" sz="1500" b="1" dirty="0" smtClean="0"/>
              <a:t>initialize the object</a:t>
            </a:r>
            <a:r>
              <a:rPr lang="en-US" sz="1500" dirty="0" smtClean="0"/>
              <a:t>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Java constructor is </a:t>
            </a:r>
            <a:r>
              <a:rPr lang="en-US" sz="1500" b="1" dirty="0" smtClean="0"/>
              <a:t>invoked at the time of object creation</a:t>
            </a:r>
            <a:r>
              <a:rPr lang="en-US" sz="1500" dirty="0" smtClean="0"/>
              <a:t>. It constructs the values i.e. provides data for the object that is why it is known as constructor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re are basically two rules defined for the constructor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1.	Constructor name must be same as its class nam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2.	Constructor must have no explicit return typ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re are two types of constructors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1.	Default constructor (no-</a:t>
            </a:r>
            <a:r>
              <a:rPr lang="en-US" sz="1500" dirty="0" err="1" smtClean="0"/>
              <a:t>arg</a:t>
            </a:r>
            <a:r>
              <a:rPr lang="en-US" sz="1500" dirty="0" smtClean="0"/>
              <a:t> constructor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2.	Parameterized constructor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16764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Rules for creating java constructor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0" y="32766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Types of java constructors</a:t>
            </a:r>
          </a:p>
        </p:txBody>
      </p:sp>
      <p:pic>
        <p:nvPicPr>
          <p:cNvPr id="8" name="Picture 7" descr="java constructor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0200" y="4953000"/>
            <a:ext cx="4300220" cy="1375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“static” Keyword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static keyword in java is used for </a:t>
            </a:r>
            <a:r>
              <a:rPr lang="en-US" sz="1500" b="1" dirty="0" smtClean="0"/>
              <a:t>memory management </a:t>
            </a:r>
            <a:r>
              <a:rPr lang="en-US" sz="1500" dirty="0" smtClean="0"/>
              <a:t>mainly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We can apply </a:t>
            </a:r>
            <a:r>
              <a:rPr lang="en-US" sz="1500" b="1" dirty="0" smtClean="0"/>
              <a:t>java static keyword </a:t>
            </a:r>
            <a:r>
              <a:rPr lang="en-US" sz="1500" dirty="0" smtClean="0"/>
              <a:t>with </a:t>
            </a:r>
            <a:r>
              <a:rPr lang="en-US" sz="1500" b="1" dirty="0" smtClean="0"/>
              <a:t>variables, methods and blocks</a:t>
            </a:r>
            <a:r>
              <a:rPr lang="en-US" sz="1500" dirty="0" smtClean="0"/>
              <a:t>. The static keyword belongs to the class than instance of the class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static can be used for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1.	variable (also known as class variable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2.	method (also known as class method)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3.	block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“this” Keyword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"this" </a:t>
            </a:r>
            <a:r>
              <a:rPr lang="en-US" sz="1500" dirty="0" smtClean="0"/>
              <a:t>is a reference variable that refers to the </a:t>
            </a:r>
            <a:r>
              <a:rPr lang="en-US" sz="1500" b="1" dirty="0" smtClean="0"/>
              <a:t>current object</a:t>
            </a:r>
            <a:r>
              <a:rPr lang="en-US" sz="1500" dirty="0" smtClean="0"/>
              <a:t>.</a:t>
            </a:r>
          </a:p>
          <a:p>
            <a:pPr marL="2171700" lvl="4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class Student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</a:t>
            </a:r>
            <a:r>
              <a:rPr lang="en-US" sz="1500" dirty="0" err="1" smtClean="0"/>
              <a:t>int</a:t>
            </a:r>
            <a:r>
              <a:rPr lang="en-US" sz="1500" dirty="0" smtClean="0"/>
              <a:t> id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String name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    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Student(</a:t>
            </a:r>
            <a:r>
              <a:rPr lang="en-US" sz="1500" dirty="0" err="1" smtClean="0"/>
              <a:t>int</a:t>
            </a:r>
            <a:r>
              <a:rPr lang="en-US" sz="1500" dirty="0" smtClean="0"/>
              <a:t> </a:t>
            </a:r>
            <a:r>
              <a:rPr lang="en-US" sz="1500" dirty="0" err="1" smtClean="0"/>
              <a:t>id,String</a:t>
            </a:r>
            <a:r>
              <a:rPr lang="en-US" sz="1500" dirty="0" smtClean="0"/>
              <a:t> name)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id = id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name = name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}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void display(){</a:t>
            </a:r>
            <a:r>
              <a:rPr lang="en-US" sz="1500" dirty="0" err="1" smtClean="0"/>
              <a:t>System.out.println</a:t>
            </a:r>
            <a:r>
              <a:rPr lang="en-US" sz="1500" dirty="0" smtClean="0"/>
              <a:t>(id+" "+name);}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public static void main(String </a:t>
            </a:r>
            <a:r>
              <a:rPr lang="en-US" sz="1500" dirty="0" err="1" smtClean="0"/>
              <a:t>args</a:t>
            </a:r>
            <a:r>
              <a:rPr lang="en-US" sz="1500" dirty="0" smtClean="0"/>
              <a:t>[])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Student s1 = new Student(111,"AAAA")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Student s2 = new Student(112,"BBBB")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s1.display()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s2.display()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}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“super”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keyword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 super keyword in java is a reference variable that is used to refer immediate parent class object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class Vehicle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</a:t>
            </a:r>
            <a:r>
              <a:rPr lang="en-US" sz="1500" dirty="0" err="1" smtClean="0"/>
              <a:t>int</a:t>
            </a:r>
            <a:r>
              <a:rPr lang="en-US" sz="1500" dirty="0" smtClean="0"/>
              <a:t> speed=50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}  </a:t>
            </a:r>
          </a:p>
          <a:p>
            <a:pPr marL="2171700" lvl="4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class Bike extends Vehicle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</a:t>
            </a:r>
            <a:r>
              <a:rPr lang="en-US" sz="1500" dirty="0" err="1" smtClean="0"/>
              <a:t>int</a:t>
            </a:r>
            <a:r>
              <a:rPr lang="en-US" sz="1500" dirty="0" smtClean="0"/>
              <a:t> speed=100;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void display(){ 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</a:t>
            </a:r>
            <a:r>
              <a:rPr lang="en-US" sz="1500" dirty="0" err="1" smtClean="0"/>
              <a:t>System.out.println</a:t>
            </a:r>
            <a:r>
              <a:rPr lang="en-US" sz="1500" dirty="0" smtClean="0"/>
              <a:t>(speed)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}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public static void main(String </a:t>
            </a:r>
            <a:r>
              <a:rPr lang="en-US" sz="1500" dirty="0" err="1" smtClean="0"/>
              <a:t>args</a:t>
            </a:r>
            <a:r>
              <a:rPr lang="en-US" sz="1500" dirty="0" smtClean="0"/>
              <a:t>[]){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Bike b=new Bike()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	</a:t>
            </a:r>
            <a:r>
              <a:rPr lang="en-US" sz="1500" dirty="0" err="1" smtClean="0"/>
              <a:t>b.display</a:t>
            </a:r>
            <a:r>
              <a:rPr lang="en-US" sz="1500" dirty="0" smtClean="0"/>
              <a:t>()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	}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rray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Arrays are used to store a group of related elements.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1D Arrays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 I. Declaring array name: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err="1" smtClean="0"/>
              <a:t>datatype</a:t>
            </a:r>
            <a:r>
              <a:rPr lang="en-US" sz="1500" dirty="0" smtClean="0"/>
              <a:t> [ ]  </a:t>
            </a:r>
            <a:r>
              <a:rPr lang="en-US" sz="1500" dirty="0" err="1" smtClean="0"/>
              <a:t>arrayName</a:t>
            </a:r>
            <a:r>
              <a:rPr lang="en-US" sz="1500" dirty="0" smtClean="0"/>
              <a:t> ; or </a:t>
            </a:r>
            <a:r>
              <a:rPr lang="en-US" sz="1500" dirty="0" err="1" smtClean="0"/>
              <a:t>datatype</a:t>
            </a:r>
            <a:r>
              <a:rPr lang="en-US" sz="1500" dirty="0" smtClean="0"/>
              <a:t> </a:t>
            </a:r>
            <a:r>
              <a:rPr lang="en-US" sz="1500" dirty="0" err="1" smtClean="0"/>
              <a:t>arrayName</a:t>
            </a:r>
            <a:r>
              <a:rPr lang="en-US" sz="1500" dirty="0" smtClean="0"/>
              <a:t>[] 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Ex. </a:t>
            </a:r>
            <a:r>
              <a:rPr lang="en-US" sz="1500" dirty="0" err="1" smtClean="0"/>
              <a:t>int</a:t>
            </a:r>
            <a:r>
              <a:rPr lang="en-US" sz="1500" dirty="0" smtClean="0"/>
              <a:t> [ ] list; or   </a:t>
            </a:r>
            <a:r>
              <a:rPr lang="en-US" sz="1500" dirty="0" err="1" smtClean="0"/>
              <a:t>int</a:t>
            </a:r>
            <a:r>
              <a:rPr lang="en-US" sz="1500" dirty="0" smtClean="0"/>
              <a:t> list[ ];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II. Allocating memory for holding data values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err="1" smtClean="0"/>
              <a:t>arrayName</a:t>
            </a:r>
            <a:r>
              <a:rPr lang="en-US" sz="1500" dirty="0" smtClean="0"/>
              <a:t> = new </a:t>
            </a:r>
            <a:r>
              <a:rPr lang="en-US" sz="1500" dirty="0" err="1" smtClean="0"/>
              <a:t>datatype</a:t>
            </a:r>
            <a:r>
              <a:rPr lang="en-US" sz="1500" dirty="0" smtClean="0"/>
              <a:t>[NE]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Ex. </a:t>
            </a:r>
            <a:r>
              <a:rPr lang="en-US" sz="1500" dirty="0" err="1" smtClean="0"/>
              <a:t>int</a:t>
            </a:r>
            <a:r>
              <a:rPr lang="en-US" sz="1500" dirty="0" smtClean="0"/>
              <a:t> [ ] list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10]; or   </a:t>
            </a:r>
            <a:r>
              <a:rPr lang="en-US" sz="1500" dirty="0" err="1" smtClean="0"/>
              <a:t>int</a:t>
            </a:r>
            <a:r>
              <a:rPr lang="en-US" sz="1500" dirty="0" smtClean="0"/>
              <a:t> list[ ] 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10];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III. Combine I and II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err="1" smtClean="0"/>
              <a:t>datatype</a:t>
            </a:r>
            <a:r>
              <a:rPr lang="en-US" sz="1500" dirty="0" smtClean="0"/>
              <a:t>  </a:t>
            </a:r>
            <a:r>
              <a:rPr lang="en-US" sz="1500" dirty="0" err="1" smtClean="0"/>
              <a:t>arrayName</a:t>
            </a:r>
            <a:r>
              <a:rPr lang="en-US" sz="1500" dirty="0" smtClean="0"/>
              <a:t> [ ] = new </a:t>
            </a:r>
            <a:r>
              <a:rPr lang="en-US" sz="1500" dirty="0" err="1" smtClean="0"/>
              <a:t>datatype</a:t>
            </a:r>
            <a:r>
              <a:rPr lang="en-US" sz="1500" dirty="0" smtClean="0"/>
              <a:t>[NE];</a:t>
            </a:r>
          </a:p>
          <a:p>
            <a:pPr marL="2171700" lvl="4" indent="-342900">
              <a:spcBef>
                <a:spcPct val="20000"/>
              </a:spcBef>
              <a:defRPr/>
            </a:pPr>
            <a:r>
              <a:rPr lang="en-US" sz="1500" dirty="0" smtClean="0"/>
              <a:t>Ex. String names[] = new String[10]; </a:t>
            </a:r>
          </a:p>
          <a:p>
            <a:pPr marL="2171700" lvl="4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Where NE indicates Number of Elements( Can be constant or variable)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Note : data type can be primitive type or reference type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b="1" dirty="0" smtClean="0"/>
              <a:t>Initialization 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err="1" smtClean="0"/>
              <a:t>int</a:t>
            </a:r>
            <a:r>
              <a:rPr lang="en-US" sz="1500" dirty="0" smtClean="0"/>
              <a:t> marks[]= { 85,68,90,56 };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What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is Java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?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lvl="1">
              <a:spcBef>
                <a:spcPct val="20000"/>
              </a:spcBef>
              <a:defRPr/>
            </a:pPr>
            <a:endParaRPr lang="en-US" sz="15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6200" y="1611328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Platform: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2092404"/>
            <a:ext cx="84582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Any hardware or software environment in which a program runs, is known as a platform. Since Java has its own runtime environment (JRE) and API, it is called </a:t>
            </a:r>
            <a:r>
              <a:rPr lang="en-US" sz="1500" b="1" dirty="0" smtClean="0"/>
              <a:t>platform</a:t>
            </a:r>
            <a:r>
              <a:rPr lang="en-US" sz="1500" dirty="0" smtClean="0"/>
              <a:t>. </a:t>
            </a:r>
            <a:endParaRPr lang="en-US" sz="1500" dirty="0"/>
          </a:p>
          <a:p>
            <a:endParaRPr lang="en-US" dirty="0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76200" y="3135328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Where Java is used?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596313"/>
            <a:ext cx="8458200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According to Sun, 3 billion devices run java. There are many devices where java is currently used. Some of them are as follows:</a:t>
            </a:r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Desktop Applications such as acrobat reader, media player, antivirus etc.</a:t>
            </a:r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Web Applications such as irctc.co.in, ticket booking sites and etc.</a:t>
            </a:r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Enterprise Applications such as banking applications.</a:t>
            </a:r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Mobile,  Embedded System,  Smart Card, Robotics,  Games etc.</a:t>
            </a:r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US" sz="1500" dirty="0"/>
          </a:p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533400"/>
            <a:ext cx="845820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is a programming language and a platform.</a:t>
            </a:r>
            <a:endParaRPr lang="en-US" sz="1500" dirty="0"/>
          </a:p>
          <a:p>
            <a:pPr marL="742950" lvl="1" indent="-285750">
              <a:lnSpc>
                <a:spcPct val="16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is a high level, robust, secured and object-oriented programming language.</a:t>
            </a:r>
          </a:p>
        </p:txBody>
      </p:sp>
    </p:spTree>
    <p:extLst>
      <p:ext uri="{BB962C8B-B14F-4D97-AF65-F5344CB8AC3E}">
        <p14:creationId xmlns="" xmlns:p14="http://schemas.microsoft.com/office/powerpoint/2010/main" val="77895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rray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Arrays are used to store a group of related elements.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2D Arrays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err="1" smtClean="0"/>
              <a:t>datatype</a:t>
            </a:r>
            <a:r>
              <a:rPr lang="en-US" sz="1500" dirty="0" smtClean="0"/>
              <a:t> [ ][ ]  </a:t>
            </a:r>
            <a:r>
              <a:rPr lang="en-US" sz="1500" dirty="0" err="1" smtClean="0"/>
              <a:t>arrayName</a:t>
            </a:r>
            <a:r>
              <a:rPr lang="en-US" sz="1500" dirty="0" smtClean="0"/>
              <a:t> ;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err="1" smtClean="0"/>
              <a:t>arrayName</a:t>
            </a:r>
            <a:r>
              <a:rPr lang="en-US" sz="1500" dirty="0" smtClean="0"/>
              <a:t> = new </a:t>
            </a:r>
            <a:r>
              <a:rPr lang="en-US" sz="1500" dirty="0" err="1" smtClean="0"/>
              <a:t>datatype</a:t>
            </a:r>
            <a:r>
              <a:rPr lang="en-US" sz="1500" dirty="0" smtClean="0"/>
              <a:t>[NR][NC];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                                      OR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err="1" smtClean="0"/>
              <a:t>datatype</a:t>
            </a:r>
            <a:r>
              <a:rPr lang="en-US" sz="1500" dirty="0" smtClean="0"/>
              <a:t> </a:t>
            </a:r>
            <a:r>
              <a:rPr lang="en-US" sz="1500" dirty="0" err="1" smtClean="0"/>
              <a:t>arrayName</a:t>
            </a:r>
            <a:r>
              <a:rPr lang="en-US" sz="1500" dirty="0" smtClean="0"/>
              <a:t> [ ] [ ] = new </a:t>
            </a:r>
            <a:r>
              <a:rPr lang="en-US" sz="1500" dirty="0" err="1" smtClean="0"/>
              <a:t>datatype</a:t>
            </a:r>
            <a:r>
              <a:rPr lang="en-US" sz="1500" dirty="0" smtClean="0"/>
              <a:t>[NR][NC];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Note : data type can be primitive type or reference type.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Ex. 	</a:t>
            </a:r>
            <a:r>
              <a:rPr lang="en-US" sz="1500" dirty="0" err="1" smtClean="0"/>
              <a:t>int</a:t>
            </a:r>
            <a:r>
              <a:rPr lang="en-US" sz="1500" dirty="0" smtClean="0"/>
              <a:t> m[][]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4][3];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Ex.	</a:t>
            </a:r>
            <a:r>
              <a:rPr lang="en-US" sz="1500" dirty="0" err="1" smtClean="0"/>
              <a:t>int</a:t>
            </a:r>
            <a:r>
              <a:rPr lang="en-US" sz="1500" dirty="0" smtClean="0"/>
              <a:t> [][] list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4][ ];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             list[0]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3]; // First row has 3 columns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             list[1] = new </a:t>
            </a:r>
            <a:r>
              <a:rPr lang="en-US" sz="1500" dirty="0" err="1" smtClean="0"/>
              <a:t>int</a:t>
            </a:r>
            <a:r>
              <a:rPr lang="en-US" sz="1500" dirty="0" smtClean="0"/>
              <a:t>[4]; // Second row has 4 columns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dirty="0" smtClean="0"/>
              <a:t>Note: rows are allowed to vary in length, called jagged arrays</a:t>
            </a: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052156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86" name="think-cell Slide" r:id="rId5" imgW="360" imgH="360" progId="">
              <p:embed/>
            </p:oleObj>
          </a:graphicData>
        </a:graphic>
      </p:graphicFrame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Foundation</a:t>
            </a: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The history of java starts from </a:t>
            </a:r>
            <a:r>
              <a:rPr lang="en-US" sz="1500" b="1" dirty="0" smtClean="0"/>
              <a:t>Green Team</a:t>
            </a:r>
            <a:r>
              <a:rPr lang="en-US" sz="1500" dirty="0" smtClean="0"/>
              <a:t>. Initially Java is used to develop a </a:t>
            </a:r>
            <a:r>
              <a:rPr lang="en-US" sz="1500" b="1" dirty="0" smtClean="0"/>
              <a:t>language for digital devices </a:t>
            </a:r>
            <a:r>
              <a:rPr lang="en-US" sz="1500" dirty="0" smtClean="0"/>
              <a:t>such as set-top boxes, televisions etc.</a:t>
            </a:r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Later they get entered into </a:t>
            </a:r>
            <a:r>
              <a:rPr lang="en-US" sz="1500" b="1" dirty="0" smtClean="0"/>
              <a:t>internet programming.</a:t>
            </a:r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First it was called "</a:t>
            </a:r>
            <a:r>
              <a:rPr lang="en-US" sz="1500" b="1" dirty="0" err="1" smtClean="0"/>
              <a:t>Greentalk</a:t>
            </a:r>
            <a:r>
              <a:rPr lang="en-US" sz="1500" dirty="0" smtClean="0"/>
              <a:t>“  with file extension as </a:t>
            </a:r>
            <a:r>
              <a:rPr lang="en-US" sz="1500" b="1" dirty="0" smtClean="0"/>
              <a:t>.</a:t>
            </a:r>
            <a:r>
              <a:rPr lang="en-US" sz="1500" b="1" dirty="0" err="1" smtClean="0"/>
              <a:t>gt</a:t>
            </a:r>
            <a:endParaRPr lang="en-US" sz="1500" b="1" dirty="0" smtClean="0"/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After that, it was called </a:t>
            </a:r>
            <a:r>
              <a:rPr lang="en-US" sz="1500" b="1" dirty="0" smtClean="0"/>
              <a:t>Oak</a:t>
            </a:r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In 1995, Oak was renamed as "</a:t>
            </a:r>
            <a:r>
              <a:rPr lang="en-US" sz="1500" b="1" dirty="0" smtClean="0"/>
              <a:t>Java</a:t>
            </a:r>
            <a:r>
              <a:rPr lang="en-US" sz="1500" dirty="0" smtClean="0"/>
              <a:t>" because it was already a trademark by </a:t>
            </a:r>
            <a:r>
              <a:rPr lang="en-US" sz="1500" b="1" dirty="0" smtClean="0"/>
              <a:t>Oak Technologies.</a:t>
            </a:r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was developed by </a:t>
            </a:r>
            <a:r>
              <a:rPr lang="en-US" sz="1500" b="1" dirty="0" smtClean="0"/>
              <a:t>James Gosling</a:t>
            </a:r>
            <a:r>
              <a:rPr lang="en-US" sz="1500" dirty="0" smtClean="0"/>
              <a:t> and their team at </a:t>
            </a:r>
            <a:r>
              <a:rPr lang="en-US" sz="1500" b="1" dirty="0" smtClean="0"/>
              <a:t>Sun Microsystems </a:t>
            </a:r>
            <a:r>
              <a:rPr lang="en-US" sz="1500" dirty="0" smtClean="0"/>
              <a:t>(which is now a subsidiary of </a:t>
            </a:r>
            <a:r>
              <a:rPr lang="en-US" sz="1500" b="1" dirty="0" smtClean="0"/>
              <a:t>Oracle Corporation</a:t>
            </a:r>
            <a:r>
              <a:rPr lang="en-US" sz="1500" dirty="0" smtClean="0"/>
              <a:t>) and released in </a:t>
            </a:r>
            <a:r>
              <a:rPr lang="en-US" sz="1500" b="1" dirty="0" smtClean="0"/>
              <a:t>1995</a:t>
            </a:r>
            <a:r>
              <a:rPr lang="en-US" sz="1500" dirty="0" smtClean="0"/>
              <a:t>.</a:t>
            </a:r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US" sz="1400" dirty="0" smtClean="0"/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US" sz="1400" dirty="0" smtClean="0"/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US" sz="100" dirty="0" smtClean="0"/>
          </a:p>
          <a:p>
            <a:pPr marL="742950" lvl="1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There are many java versions that has been released. Current stable release of Java is Java SE 8.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DK Alpha and Beta (1995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DK 1.0 (23rd Jan, 1996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DK 1.1 (19th Feb, 1997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2SE 1.2 (8th Dec, 1998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2SE 1.3 (8th May, 2000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2SE 1.4 (6th Feb, 2002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2SE 5.0 (30th Sep, 2004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SE 6 (11th Dec, 2006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SE 7 (28th July, 2011)</a:t>
            </a:r>
          </a:p>
          <a:p>
            <a:pPr marL="1657350" lvl="3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500" dirty="0" smtClean="0"/>
              <a:t>Java SE 8 (18th March, 2014)</a:t>
            </a:r>
          </a:p>
        </p:txBody>
      </p:sp>
      <p:sp>
        <p:nvSpPr>
          <p:cNvPr id="81" name="Rectangle 2"/>
          <p:cNvSpPr txBox="1">
            <a:spLocks noChangeArrowheads="1"/>
          </p:cNvSpPr>
          <p:nvPr/>
        </p:nvSpPr>
        <p:spPr>
          <a:xfrm>
            <a:off x="76200" y="27686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marR="0" lvl="1" indent="-4763" algn="l" defTabSz="914400" rtl="0" eaLnBrk="0" fontAlgn="auto" latinLnBrk="0" hangingPunc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US" altLang="zh-CN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itchFamily="34" charset="0"/>
              </a:rPr>
              <a:t>Java Version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831050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93" name="think-cell Slide" r:id="rId5" imgW="360" imgH="360" progId="">
              <p:embed/>
            </p:oleObj>
          </a:graphicData>
        </a:graphic>
      </p:graphicFrame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Types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of Java 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Applications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lvl="1">
              <a:spcBef>
                <a:spcPct val="20000"/>
              </a:spcBef>
              <a:defRPr/>
            </a:pPr>
            <a:r>
              <a:rPr lang="en-US" sz="1500" dirty="0" smtClean="0"/>
              <a:t>There are mainly 4 type of applications that can be created using java programming: </a:t>
            </a:r>
          </a:p>
          <a:p>
            <a:pPr lvl="1">
              <a:spcBef>
                <a:spcPct val="20000"/>
              </a:spcBef>
              <a:defRPr/>
            </a:pPr>
            <a:endParaRPr lang="en-US" sz="1500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r>
              <a:rPr lang="en-US" sz="1500" b="1" dirty="0" smtClean="0"/>
              <a:t>Standalone Application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t is also known as desktop application or window-based application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n application that we need to install on every machine such as media player, antivirus etc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WT and Swing are used in java for creating standalone applications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r>
              <a:rPr lang="en-US" sz="1500" b="1" dirty="0" smtClean="0"/>
              <a:t>Web Application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n application that runs on the server side and creates dynamic page, is called web application. Currently, </a:t>
            </a:r>
            <a:r>
              <a:rPr lang="en-US" sz="1500" dirty="0" err="1" smtClean="0"/>
              <a:t>servlet</a:t>
            </a:r>
            <a:r>
              <a:rPr lang="en-US" sz="1500" dirty="0" smtClean="0"/>
              <a:t>, </a:t>
            </a:r>
            <a:r>
              <a:rPr lang="en-US" sz="1500" dirty="0" err="1" smtClean="0"/>
              <a:t>jsp</a:t>
            </a:r>
            <a:r>
              <a:rPr lang="en-US" sz="1500" dirty="0" smtClean="0"/>
              <a:t>, struts, </a:t>
            </a:r>
            <a:r>
              <a:rPr lang="en-US" sz="1500" dirty="0" err="1" smtClean="0"/>
              <a:t>jsf</a:t>
            </a:r>
            <a:r>
              <a:rPr lang="en-US" sz="1500" dirty="0" smtClean="0"/>
              <a:t> etc. technologies are used for creating web applications in java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r>
              <a:rPr lang="en-US" sz="1500" b="1" dirty="0" smtClean="0"/>
              <a:t>Enterprise Applica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n application that is distributed in nature, such as banking applications etc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t has the advantage of high level security, load balancing and clustering. In java, EJB is used for creating enterprise applications.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r>
              <a:rPr lang="en-US" sz="1500" b="1" dirty="0" smtClean="0"/>
              <a:t>Mobile Application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n application that is created for mobile devices. Currently Android and Java ME are used for creating mobile applications.</a:t>
            </a:r>
          </a:p>
          <a:p>
            <a:pPr lvl="1">
              <a:spcBef>
                <a:spcPct val="20000"/>
              </a:spcBef>
              <a:defRPr/>
            </a:pPr>
            <a:endParaRPr lang="en-US" sz="1400" dirty="0" smtClean="0"/>
          </a:p>
        </p:txBody>
      </p:sp>
    </p:spTree>
    <p:extLst>
      <p:ext uri="{BB962C8B-B14F-4D97-AF65-F5344CB8AC3E}">
        <p14:creationId xmlns="" xmlns:p14="http://schemas.microsoft.com/office/powerpoint/2010/main" val="589658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Features </a:t>
            </a:r>
            <a:r>
              <a:rPr lang="en-US" altLang="zh-CN" sz="2600" kern="1200" dirty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of </a:t>
            </a: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22860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Some of the major features of JAVA ar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Simple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Object-Oriente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latform independent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Secured  &amp; Robust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Dynamic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High Performanc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Multithreaded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Distributed</a:t>
            </a:r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buAutoNum type="arabicParenR"/>
              <a:defRPr/>
            </a:pPr>
            <a:endParaRPr lang="en-US" sz="15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JDK, JRE, JVM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JAVA_HOME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LASSPATH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PATH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Compi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Run Java</a:t>
            </a:r>
            <a:endParaRPr lang="en-US" sz="14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33782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Java System Setting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Java Program Structure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Package declaration</a:t>
            </a:r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Import references</a:t>
            </a:r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Class declaration</a:t>
            </a:r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Variables and methods declaration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lvl="3"/>
            <a:r>
              <a:rPr lang="en-US" b="1" dirty="0" smtClean="0"/>
              <a:t>package </a:t>
            </a:r>
            <a:r>
              <a:rPr lang="en-US" b="1" dirty="0" err="1" smtClean="0"/>
              <a:t>com.tibil</a:t>
            </a:r>
            <a:r>
              <a:rPr lang="en-US" b="1" dirty="0" smtClean="0"/>
              <a:t>;</a:t>
            </a:r>
          </a:p>
          <a:p>
            <a:pPr lvl="3"/>
            <a:r>
              <a:rPr lang="en-US" b="1" dirty="0" smtClean="0"/>
              <a:t>import </a:t>
            </a:r>
            <a:r>
              <a:rPr lang="en-US" b="1" dirty="0" err="1" smtClean="0"/>
              <a:t>java.lang</a:t>
            </a:r>
            <a:r>
              <a:rPr lang="en-US" b="1" dirty="0" smtClean="0"/>
              <a:t>.*;</a:t>
            </a:r>
          </a:p>
          <a:p>
            <a:pPr lvl="3"/>
            <a:endParaRPr lang="en-US" dirty="0" smtClean="0"/>
          </a:p>
          <a:p>
            <a:pPr lvl="3"/>
            <a:r>
              <a:rPr lang="en-US" b="1" dirty="0" smtClean="0"/>
              <a:t>public class </a:t>
            </a:r>
            <a:r>
              <a:rPr lang="en-US" b="1" dirty="0" err="1" smtClean="0"/>
              <a:t>HelloFriendsProgram</a:t>
            </a:r>
            <a:r>
              <a:rPr lang="en-US" b="1" dirty="0" smtClean="0"/>
              <a:t> {</a:t>
            </a:r>
            <a:endParaRPr lang="en-US" dirty="0" smtClean="0"/>
          </a:p>
          <a:p>
            <a:pPr lvl="4"/>
            <a:r>
              <a:rPr lang="en-US" b="1" dirty="0" smtClean="0"/>
              <a:t>public static void main(String[] </a:t>
            </a:r>
            <a:r>
              <a:rPr lang="en-US" b="1" dirty="0" err="1" smtClean="0"/>
              <a:t>args</a:t>
            </a:r>
            <a:r>
              <a:rPr lang="en-US" b="1" dirty="0" smtClean="0"/>
              <a:t>) {</a:t>
            </a:r>
          </a:p>
          <a:p>
            <a:pPr lvl="4"/>
            <a:r>
              <a:rPr lang="en-US" dirty="0" smtClean="0"/>
              <a:t>	</a:t>
            </a:r>
            <a:r>
              <a:rPr lang="en-US" dirty="0" err="1" smtClean="0"/>
              <a:t>System.</a:t>
            </a:r>
            <a:r>
              <a:rPr lang="en-US" i="1" dirty="0" err="1" smtClean="0"/>
              <a:t>out.println</a:t>
            </a:r>
            <a:r>
              <a:rPr lang="en-US" i="1" dirty="0" smtClean="0"/>
              <a:t>("Hello Friends..");</a:t>
            </a:r>
          </a:p>
          <a:p>
            <a:pPr lvl="4"/>
            <a:r>
              <a:rPr lang="en-US" dirty="0" smtClean="0"/>
              <a:t>}</a:t>
            </a:r>
          </a:p>
          <a:p>
            <a:pPr lvl="3"/>
            <a:r>
              <a:rPr lang="en-US" dirty="0" smtClean="0"/>
              <a:t>}</a:t>
            </a:r>
            <a:endParaRPr lang="en-US" sz="3600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Variable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Variable are reserved area in </a:t>
            </a:r>
            <a:r>
              <a:rPr lang="en-US" sz="1500" b="1" dirty="0" smtClean="0"/>
              <a:t>memory location</a:t>
            </a:r>
            <a:r>
              <a:rPr lang="en-US" sz="1500" dirty="0" smtClean="0"/>
              <a:t>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re are three types of variables: local, instance and static. 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There are two types of </a:t>
            </a:r>
            <a:r>
              <a:rPr lang="en-US" sz="1500" dirty="0" err="1" smtClean="0"/>
              <a:t>datatypes</a:t>
            </a:r>
            <a:r>
              <a:rPr lang="en-US" sz="1500" dirty="0" smtClean="0"/>
              <a:t> in java, primitive and non-primitive.</a:t>
            </a:r>
          </a:p>
          <a:p>
            <a:pPr lvl="3"/>
            <a:endParaRPr lang="en-US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3600" b="1" dirty="0" smtClean="0"/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Local variab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Instance variab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Static variable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endParaRPr lang="en-US" sz="1500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Local Variable 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 variable that is declared inside the method is called local variable.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Instance Variable 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 variable that is declared inside the class but outside the method is called instance variable . It is not declared as static.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Static Variable :</a:t>
            </a:r>
          </a:p>
          <a:p>
            <a:pPr marL="1257300" lvl="2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 variable that is declared as static is called static variable. It cannot be local.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18288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Types of variable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5400" y="25400"/>
            <a:ext cx="9067800" cy="5842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algn="l" rtl="0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kern="1200" dirty="0" smtClean="0">
                <a:solidFill>
                  <a:srgbClr val="0070C0"/>
                </a:solidFill>
                <a:latin typeface="Century Gothic" pitchFamily="34" charset="0"/>
                <a:ea typeface="+mn-ea"/>
                <a:cs typeface="Arial" pitchFamily="34" charset="0"/>
              </a:rPr>
              <a:t>Variable declaration</a:t>
            </a:r>
            <a:endParaRPr lang="en-US" altLang="zh-CN" sz="2600" kern="1200" dirty="0">
              <a:solidFill>
                <a:srgbClr val="0070C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Slide Number Placeholder 21"/>
          <p:cNvSpPr txBox="1">
            <a:spLocks/>
          </p:cNvSpPr>
          <p:nvPr/>
        </p:nvSpPr>
        <p:spPr bwMode="auto">
          <a:xfrm>
            <a:off x="48904" y="6526268"/>
            <a:ext cx="789296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25F47-A4B5-4062-80C6-0ABA2CC0C8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627888"/>
            <a:ext cx="9067800" cy="5696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class A{  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err="1" smtClean="0"/>
              <a:t>int</a:t>
            </a:r>
            <a:r>
              <a:rPr lang="en-US" sz="1500" b="1" dirty="0" smtClean="0"/>
              <a:t> data=50;//instance variable  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static </a:t>
            </a:r>
            <a:r>
              <a:rPr lang="en-US" sz="1500" b="1" dirty="0" err="1" smtClean="0"/>
              <a:t>int</a:t>
            </a:r>
            <a:r>
              <a:rPr lang="en-US" sz="1500" b="1" dirty="0" smtClean="0"/>
              <a:t> m=100;//static variable  </a:t>
            </a:r>
          </a:p>
          <a:p>
            <a:pPr marL="1257300" lvl="2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void method(){  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	</a:t>
            </a:r>
            <a:r>
              <a:rPr lang="en-US" sz="1500" b="1" dirty="0" err="1" smtClean="0"/>
              <a:t>int</a:t>
            </a:r>
            <a:r>
              <a:rPr lang="en-US" sz="1500" b="1" dirty="0" smtClean="0"/>
              <a:t> n=90;//local variable  </a:t>
            </a:r>
          </a:p>
          <a:p>
            <a:pPr marL="1257300" lvl="2" indent="-342900">
              <a:spcBef>
                <a:spcPct val="20000"/>
              </a:spcBef>
              <a:defRPr/>
            </a:pPr>
            <a:r>
              <a:rPr lang="en-US" sz="1500" b="1" dirty="0" smtClean="0"/>
              <a:t>}  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b="1" dirty="0" smtClean="0"/>
              <a:t>}//end of class  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  <a:p>
            <a:pPr marL="800100" lvl="1" indent="-342900">
              <a:spcBef>
                <a:spcPct val="20000"/>
              </a:spcBef>
              <a:defRPr/>
            </a:pPr>
            <a:r>
              <a:rPr lang="en-US" sz="1500" dirty="0" smtClean="0"/>
              <a:t>The Identifier can contain </a:t>
            </a: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Alphabets, digits, _, $</a:t>
            </a: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First character must be an alphabet</a:t>
            </a: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sz="1500" dirty="0" smtClean="0"/>
              <a:t>Keywords should not be used as Identifiers</a:t>
            </a:r>
          </a:p>
          <a:p>
            <a:pPr marL="800100" lvl="1" indent="-342900">
              <a:spcBef>
                <a:spcPct val="20000"/>
              </a:spcBef>
              <a:defRPr/>
            </a:pPr>
            <a:endParaRPr lang="en-US" sz="1500" b="1" dirty="0" smtClean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0" y="3886200"/>
            <a:ext cx="9067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4763" lvl="1" indent="-4763" eaLnBrk="0" hangingPunct="0">
              <a:spcBef>
                <a:spcPts val="1500"/>
              </a:spcBef>
              <a:buClr>
                <a:schemeClr val="accent2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n-US" altLang="zh-CN" sz="2600" dirty="0" smtClean="0">
                <a:solidFill>
                  <a:srgbClr val="0070C0"/>
                </a:solidFill>
                <a:latin typeface="Century Gothic" pitchFamily="34" charset="0"/>
                <a:cs typeface="Arial" pitchFamily="34" charset="0"/>
              </a:rPr>
              <a:t>User Defined Identifiers</a:t>
            </a:r>
            <a:endParaRPr kumimoji="0" lang="en-US" altLang="zh-CN" sz="2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5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60</TotalTime>
  <Words>2134</Words>
  <Application>Microsoft Office PowerPoint</Application>
  <PresentationFormat>On-screen Show (4:3)</PresentationFormat>
  <Paragraphs>557</Paragraphs>
  <Slides>30</Slides>
  <Notes>3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2" baseType="lpstr">
      <vt:lpstr>Office Theme</vt:lpstr>
      <vt:lpstr>think-cell Slide</vt:lpstr>
      <vt:lpstr>Slide 1</vt:lpstr>
      <vt:lpstr>Core JAVA Training</vt:lpstr>
      <vt:lpstr>What is Java?</vt:lpstr>
      <vt:lpstr>Java Foundation</vt:lpstr>
      <vt:lpstr>Types of Java Applications</vt:lpstr>
      <vt:lpstr>Features of Java</vt:lpstr>
      <vt:lpstr>Java Program Structure</vt:lpstr>
      <vt:lpstr>Variable</vt:lpstr>
      <vt:lpstr>Variable declaration</vt:lpstr>
      <vt:lpstr>Data type</vt:lpstr>
      <vt:lpstr>Data type memory allocation</vt:lpstr>
      <vt:lpstr>Java Operators</vt:lpstr>
      <vt:lpstr>Relational Operators</vt:lpstr>
      <vt:lpstr>Bitwise Operators</vt:lpstr>
      <vt:lpstr>Logical Operators</vt:lpstr>
      <vt:lpstr>Assignment Operators</vt:lpstr>
      <vt:lpstr>Misc Operators</vt:lpstr>
      <vt:lpstr>OOPs</vt:lpstr>
      <vt:lpstr>Inheritance:</vt:lpstr>
      <vt:lpstr>Java Keywords</vt:lpstr>
      <vt:lpstr>Programming Conditional Controls</vt:lpstr>
      <vt:lpstr>Comments in Java</vt:lpstr>
      <vt:lpstr>Access Specifiers /Modifiers</vt:lpstr>
      <vt:lpstr>Java Naming Conventions </vt:lpstr>
      <vt:lpstr>Java Constructor</vt:lpstr>
      <vt:lpstr>“static” Keyword</vt:lpstr>
      <vt:lpstr>“this” Keyword</vt:lpstr>
      <vt:lpstr>“super” keyword</vt:lpstr>
      <vt:lpstr>Array</vt:lpstr>
      <vt:lpstr>Array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tudy</dc:title>
  <dc:creator>Tibil</dc:creator>
  <cp:lastModifiedBy>DH67CL</cp:lastModifiedBy>
  <cp:revision>1852</cp:revision>
  <dcterms:created xsi:type="dcterms:W3CDTF">2012-09-02T15:20:46Z</dcterms:created>
  <dcterms:modified xsi:type="dcterms:W3CDTF">2015-05-11T06:03:28Z</dcterms:modified>
</cp:coreProperties>
</file>